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3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44-B541-B789-4F94487C4A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44-B541-B789-4F94487C4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944559"/>
        <c:axId val="12945519"/>
      </c:areaChart>
      <c:dateAx>
        <c:axId val="12944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5519"/>
        <c:crosses val="autoZero"/>
        <c:auto val="1"/>
        <c:lblOffset val="100"/>
        <c:baseTimeUnit val="months"/>
      </c:dateAx>
      <c:valAx>
        <c:axId val="1294551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657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ED62A-3B8F-941E-ADB6-C803F3C6B6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525477C8-C7A5-C3AC-2D46-72C7C51E1B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5477C8-C7A5-C3AC-2D46-72C7C51E1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7AF18E-A059-86CA-9073-679C147F2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8155EA-414C-7C77-3620-34FC148AF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FABD431-E811-EFD2-96FE-A2FE43791A99}"/>
              </a:ext>
            </a:extLst>
          </p:cNvPr>
          <p:cNvGraphicFramePr>
            <a:graphicFrameLocks/>
          </p:cNvGraphicFramePr>
          <p:nvPr/>
        </p:nvGraphicFramePr>
        <p:xfrm>
          <a:off x="627083" y="2586942"/>
          <a:ext cx="17016611" cy="6747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5900A9-281A-8169-C5CB-7A974F8519FE}"/>
              </a:ext>
            </a:extLst>
          </p:cNvPr>
          <p:cNvSpPr txBox="1"/>
          <p:nvPr/>
        </p:nvSpPr>
        <p:spPr>
          <a:xfrm>
            <a:off x="627083" y="1587818"/>
            <a:ext cx="16571688" cy="4154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700" dirty="0">
                <a:solidFill>
                  <a:schemeClr val="tx1"/>
                </a:solidFill>
              </a:rPr>
              <a:t>Chart Title </a:t>
            </a:r>
            <a:endParaRPr lang="de-DE" sz="2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078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9</TotalTime>
  <Words>4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69</cp:revision>
  <dcterms:created xsi:type="dcterms:W3CDTF">2006-08-16T00:00:00Z</dcterms:created>
  <dcterms:modified xsi:type="dcterms:W3CDTF">2025-10-06T09:54:38Z</dcterms:modified>
  <cp:category/>
  <dc:identifier>DAGkDf5R9EM</dc:identifier>
</cp:coreProperties>
</file>